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055" r:id="rId4"/>
    <p:sldMasterId id="2147484062" r:id="rId5"/>
    <p:sldMasterId id="2147484073" r:id="rId6"/>
    <p:sldMasterId id="2147484080" r:id="rId7"/>
  </p:sldMasterIdLst>
  <p:notesMasterIdLst>
    <p:notesMasterId r:id="rId11"/>
  </p:notesMasterIdLst>
  <p:handoutMasterIdLst>
    <p:handoutMasterId r:id="rId12"/>
  </p:handoutMasterIdLst>
  <p:sldIdLst>
    <p:sldId id="257" r:id="rId8"/>
    <p:sldId id="2147374779" r:id="rId9"/>
    <p:sldId id="2147374872" r:id="rId10"/>
  </p:sldIdLst>
  <p:sldSz cx="12192000" cy="6858000"/>
  <p:notesSz cx="6858000" cy="9144000"/>
  <p:embeddedFontLst>
    <p:embeddedFont>
      <p:font typeface="Ubuntu" panose="020B050403060203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ekly Status Report" id="{2AC87FFF-C56C-4F81-A530-CF4D1204AE80}">
          <p14:sldIdLst>
            <p14:sldId id="257"/>
            <p14:sldId id="2147374779"/>
            <p14:sldId id="2147374872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EAF0F7"/>
    <a:srgbClr val="57CF80"/>
    <a:srgbClr val="FFC000"/>
    <a:srgbClr val="92D050"/>
    <a:srgbClr val="FFFFFF"/>
    <a:srgbClr val="00AFF0"/>
    <a:srgbClr val="00B0F0"/>
    <a:srgbClr val="D9D9D9"/>
    <a:srgbClr val="FFF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4FE433-82A5-5050-69EF-3FE07CA9AD95}" v="250" dt="2023-10-12T12:49:11.545"/>
    <p1510:client id="{2501B1D6-9634-E277-CC88-0DF34D0E668C}" v="80" dt="2023-10-13T09:32:25.611"/>
    <p1510:client id="{2D9327B6-CFC3-4489-8278-82ACC6E36510}" v="714" dt="2023-10-12T20:54:01.729"/>
    <p1510:client id="{67286BB5-E295-42BA-BEEC-2D80B504C263}" v="425" dt="2023-10-12T16:47:23.999"/>
    <p1510:client id="{70E5283E-A2D2-4C47-845F-E9E373A101FE}" v="618" dt="2023-10-12T15:16:06.192"/>
    <p1510:client id="{71DD754C-6B3E-434F-9767-07D73E79705E}" v="143" dt="2023-10-13T06:52:06.611"/>
    <p1510:client id="{91A3FD01-2C4C-4EA2-9219-8348B749D775}" v="47" dt="2023-10-12T11:49:11.645"/>
    <p1510:client id="{92453D1D-D3C3-4B25-A133-69D0BF93F534}" v="102" dt="2023-10-12T12:17:03.657"/>
    <p1510:client id="{9B37EB7C-222A-4DDE-9B06-58CD567E7EA9}" v="1517" dt="2023-10-13T09:26:43.741"/>
    <p1510:client id="{AB0588FC-5770-4476-B5B9-1121F9A21842}" v="950" dt="2023-10-12T12:00:10.469"/>
    <p1510:client id="{AC47DC01-D35D-4A9E-A64C-FD85C895806D}" v="783" vWet="785" dt="2023-10-12T16:41:16.9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54" d="100"/>
          <a:sy n="154" d="100"/>
        </p:scale>
        <p:origin x="534" y="132"/>
      </p:cViewPr>
      <p:guideLst>
        <p:guide orient="horz" pos="234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font" Target="fonts/font1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3.fntdata"/><Relationship Id="rId23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font" Target="fonts/font2.fntdata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10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10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20108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4244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05575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0324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EF29FC-859B-4DA7-A251-EF8A52B91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481BB-FD58-439D-A5D1-337CD4CDBD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100" y="1219200"/>
            <a:ext cx="11353800" cy="48101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9619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2322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EF29FC-859B-4DA7-A251-EF8A52B91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073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44130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03664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186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4758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38830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593987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6619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2614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00958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674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438959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804078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023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282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72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25496A93-1D62-25AF-574D-09D81F48E3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kumimoji="1" lang="en-US" altLang="ja-JP"/>
              <a:t> Picture, graphic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18FD81-88FA-8D10-93A4-CA0238D592B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EEA4F11D-ADDD-D51A-E30D-BAE8D43EB1FA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スライド番号プレースホルダー 3">
            <a:extLst>
              <a:ext uri="{FF2B5EF4-FFF2-40B4-BE49-F238E27FC236}">
                <a16:creationId xmlns:a16="http://schemas.microsoft.com/office/drawing/2014/main" id="{5A7337B3-8626-D6AB-2DD1-FE9C59C99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フッター プレースホルダー 2">
            <a:extLst>
              <a:ext uri="{FF2B5EF4-FFF2-40B4-BE49-F238E27FC236}">
                <a16:creationId xmlns:a16="http://schemas.microsoft.com/office/drawing/2014/main" id="{4DE674D0-D653-B2BE-0C77-927C85C6F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506FFF56-D599-4EA1-8994-0B29B8D82A53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495C8694-FC00-4C3B-9DE2-1E2CB5824B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62979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テキスト プレースホルダー 13">
            <a:extLst>
              <a:ext uri="{FF2B5EF4-FFF2-40B4-BE49-F238E27FC236}">
                <a16:creationId xmlns:a16="http://schemas.microsoft.com/office/drawing/2014/main" id="{127C7B05-3C0F-B20D-2360-54A754ACA7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4988" y="120310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1. Topic title  Arial 18pt</a:t>
            </a:r>
          </a:p>
        </p:txBody>
      </p:sp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8E509E5-6002-968F-9689-949702FAA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4988" y="165691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  Arial 16pt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A4C5561-56F1-2BE3-183C-F2F6B7D263C1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59B74494-99C6-7456-B8EB-CA07D45A6FE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スライド番号プレースホルダー 3">
            <a:extLst>
              <a:ext uri="{FF2B5EF4-FFF2-40B4-BE49-F238E27FC236}">
                <a16:creationId xmlns:a16="http://schemas.microsoft.com/office/drawing/2014/main" id="{4E8E9449-5E24-597D-2466-BC4A4D331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862BB816-54BD-4205-E9D3-A4AB25995A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04988" y="2254032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2. Topic title</a:t>
            </a:r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9BB17FC1-42EC-2674-0BCD-AF1B06257F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4988" y="2707841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0" name="テキスト プレースホルダー 13">
            <a:extLst>
              <a:ext uri="{FF2B5EF4-FFF2-40B4-BE49-F238E27FC236}">
                <a16:creationId xmlns:a16="http://schemas.microsoft.com/office/drawing/2014/main" id="{C262D9F1-170C-FEE2-2472-3FF004C93A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04988" y="3304959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3. Topic title </a:t>
            </a:r>
          </a:p>
        </p:txBody>
      </p:sp>
      <p:sp>
        <p:nvSpPr>
          <p:cNvPr id="41" name="テキスト プレースホルダー 13">
            <a:extLst>
              <a:ext uri="{FF2B5EF4-FFF2-40B4-BE49-F238E27FC236}">
                <a16:creationId xmlns:a16="http://schemas.microsoft.com/office/drawing/2014/main" id="{D36E4D91-1BF9-091F-E926-8382E7EDE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4988" y="3758768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2" name="テキスト プレースホルダー 13">
            <a:extLst>
              <a:ext uri="{FF2B5EF4-FFF2-40B4-BE49-F238E27FC236}">
                <a16:creationId xmlns:a16="http://schemas.microsoft.com/office/drawing/2014/main" id="{5E539ABA-F91D-8A2F-E544-DB3EBFAC91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04988" y="4355885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4. Topic title </a:t>
            </a:r>
          </a:p>
        </p:txBody>
      </p:sp>
      <p:sp>
        <p:nvSpPr>
          <p:cNvPr id="43" name="テキスト プレースホルダー 13">
            <a:extLst>
              <a:ext uri="{FF2B5EF4-FFF2-40B4-BE49-F238E27FC236}">
                <a16:creationId xmlns:a16="http://schemas.microsoft.com/office/drawing/2014/main" id="{F67B5B7A-896A-DE29-E75A-80E790F361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988" y="4809694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44" name="テキスト プレースホルダー 13">
            <a:extLst>
              <a:ext uri="{FF2B5EF4-FFF2-40B4-BE49-F238E27FC236}">
                <a16:creationId xmlns:a16="http://schemas.microsoft.com/office/drawing/2014/main" id="{433031D6-DD50-5095-0CC8-23D614EBC9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04988" y="5406811"/>
            <a:ext cx="9360000" cy="432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5. Topic title</a:t>
            </a:r>
          </a:p>
        </p:txBody>
      </p:sp>
      <p:sp>
        <p:nvSpPr>
          <p:cNvPr id="45" name="テキスト プレースホルダー 13">
            <a:extLst>
              <a:ext uri="{FF2B5EF4-FFF2-40B4-BE49-F238E27FC236}">
                <a16:creationId xmlns:a16="http://schemas.microsoft.com/office/drawing/2014/main" id="{6345B59D-EA5D-4847-AC94-092E01E40D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24988" y="5860620"/>
            <a:ext cx="8640000" cy="396000"/>
          </a:xfrm>
        </p:spPr>
        <p:txBody>
          <a:bodyPr lIns="180000" tIns="72000" rIns="18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>
                <a:latin typeface="+mn-lt"/>
              </a:defRPr>
            </a:lvl1pPr>
            <a:lvl4pPr marL="1080000" indent="0">
              <a:lnSpc>
                <a:spcPct val="100000"/>
              </a:lnSpc>
              <a:spcBef>
                <a:spcPts val="400"/>
              </a:spcBef>
              <a:buNone/>
              <a:defRPr sz="1400"/>
            </a:lvl4pPr>
          </a:lstStyle>
          <a:p>
            <a:pPr lvl="0"/>
            <a:r>
              <a:rPr kumimoji="1" lang="en-US" altLang="ja-JP"/>
              <a:t>Subtopic text</a:t>
            </a:r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A13C161A-ABF0-25CD-3E68-068EEBC47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03791546-1A4B-4A0E-BC6D-2C68C85D037D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8ED66173-4570-40EF-8E64-5D04F7D72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80283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68D846FA-517A-1BDC-FC39-E177F82B1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1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  <a:br>
              <a:rPr kumimoji="1" lang="en-US" altLang="ja-JP"/>
            </a:br>
            <a:r>
              <a:rPr kumimoji="1" lang="en-US" altLang="ja-JP"/>
              <a:t>Arial 18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</a:p>
        </p:txBody>
      </p:sp>
      <p:sp>
        <p:nvSpPr>
          <p:cNvPr id="21" name="テキスト プレースホルダー 13">
            <a:extLst>
              <a:ext uri="{FF2B5EF4-FFF2-40B4-BE49-F238E27FC236}">
                <a16:creationId xmlns:a16="http://schemas.microsoft.com/office/drawing/2014/main" id="{2E896B08-519F-1B49-CAEA-B43D1178AF6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7013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br>
              <a:rPr kumimoji="1" lang="en-US" altLang="ja-JP"/>
            </a:br>
            <a:r>
              <a:rPr kumimoji="1" lang="en-US" altLang="ja-JP"/>
              <a:t>Arial 16pt</a:t>
            </a:r>
            <a:br>
              <a:rPr kumimoji="1" lang="en-US" altLang="ja-JP"/>
            </a:br>
            <a:r>
              <a:rPr kumimoji="1" lang="en-US" altLang="ja-JP"/>
              <a:t>Line spacing 1</a:t>
            </a:r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7B82DFB4-8892-789E-B2CD-7983B9B4CF0D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6A81A413-E438-061D-7C90-F5C58FADD165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スライド番号プレースホルダー 3">
            <a:extLst>
              <a:ext uri="{FF2B5EF4-FFF2-40B4-BE49-F238E27FC236}">
                <a16:creationId xmlns:a16="http://schemas.microsoft.com/office/drawing/2014/main" id="{6109E172-85B5-D6BA-35E2-71BC0EBAEF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31" name="テキスト プレースホルダー 13">
            <a:extLst>
              <a:ext uri="{FF2B5EF4-FFF2-40B4-BE49-F238E27FC236}">
                <a16:creationId xmlns:a16="http://schemas.microsoft.com/office/drawing/2014/main" id="{091E2DBB-7DB9-2686-95D3-4E80875ED0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29232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5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2" name="テキスト プレースホルダー 13">
            <a:extLst>
              <a:ext uri="{FF2B5EF4-FFF2-40B4-BE49-F238E27FC236}">
                <a16:creationId xmlns:a16="http://schemas.microsoft.com/office/drawing/2014/main" id="{078B0A2C-258F-D3A0-16EC-3E1972B716E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29232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3" name="テキスト プレースホルダー 13">
            <a:extLst>
              <a:ext uri="{FF2B5EF4-FFF2-40B4-BE49-F238E27FC236}">
                <a16:creationId xmlns:a16="http://schemas.microsoft.com/office/drawing/2014/main" id="{D8A912AB-567C-A54D-4F1D-3027E27F63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80000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3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4" name="テキスト プレースホルダー 13">
            <a:extLst>
              <a:ext uri="{FF2B5EF4-FFF2-40B4-BE49-F238E27FC236}">
                <a16:creationId xmlns:a16="http://schemas.microsoft.com/office/drawing/2014/main" id="{A1CC399C-A256-16A8-5421-852FF5919F5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80000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5" name="テキスト プレースホルダー 13">
            <a:extLst>
              <a:ext uri="{FF2B5EF4-FFF2-40B4-BE49-F238E27FC236}">
                <a16:creationId xmlns:a16="http://schemas.microsoft.com/office/drawing/2014/main" id="{F59B86E8-736F-B28D-D00E-E953A7F41F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01629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2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6" name="テキスト プレースホルダー 13">
            <a:extLst>
              <a:ext uri="{FF2B5EF4-FFF2-40B4-BE49-F238E27FC236}">
                <a16:creationId xmlns:a16="http://schemas.microsoft.com/office/drawing/2014/main" id="{147CC392-487E-2E0C-B50A-061957F777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601629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37" name="テキスト プレースホルダー 13">
            <a:extLst>
              <a:ext uri="{FF2B5EF4-FFF2-40B4-BE49-F238E27FC236}">
                <a16:creationId xmlns:a16="http://schemas.microsoft.com/office/drawing/2014/main" id="{7BEA0843-78F0-59BF-C130-00A11B0158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50861" y="1202636"/>
            <a:ext cx="2232000" cy="1620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00" b="1">
                <a:latin typeface="+mn-lt"/>
              </a:defRPr>
            </a:lvl1pPr>
          </a:lstStyle>
          <a:p>
            <a:pPr lvl="0"/>
            <a:r>
              <a:rPr kumimoji="1" lang="en-US" altLang="ja-JP"/>
              <a:t>4.</a:t>
            </a:r>
            <a:br>
              <a:rPr kumimoji="1" lang="en-US" altLang="ja-JP"/>
            </a:br>
            <a:r>
              <a:rPr kumimoji="1" lang="en-US" altLang="ja-JP"/>
              <a:t>Topic title</a:t>
            </a:r>
          </a:p>
        </p:txBody>
      </p:sp>
      <p:sp>
        <p:nvSpPr>
          <p:cNvPr id="38" name="テキスト プレースホルダー 13">
            <a:extLst>
              <a:ext uri="{FF2B5EF4-FFF2-40B4-BE49-F238E27FC236}">
                <a16:creationId xmlns:a16="http://schemas.microsoft.com/office/drawing/2014/main" id="{A4EC413B-D1FB-83CD-AFD7-13B9F7201C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50861" y="2853288"/>
            <a:ext cx="2232000" cy="3384000"/>
          </a:xfrm>
        </p:spPr>
        <p:txBody>
          <a:bodyPr lIns="180000" tIns="72000" rIns="18000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Subtopic text</a:t>
            </a:r>
            <a:endParaRPr kumimoji="1" lang="ja-JP" altLang="en-US"/>
          </a:p>
        </p:txBody>
      </p:sp>
      <p:sp>
        <p:nvSpPr>
          <p:cNvPr id="18" name="フッター プレースホルダー 2">
            <a:extLst>
              <a:ext uri="{FF2B5EF4-FFF2-40B4-BE49-F238E27FC236}">
                <a16:creationId xmlns:a16="http://schemas.microsoft.com/office/drawing/2014/main" id="{2D057740-B1CC-82F0-B425-1A4E3A31E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</a:t>
            </a:r>
            <a:endParaRPr lang="ja-JP" altLang="en-US"/>
          </a:p>
        </p:txBody>
      </p:sp>
      <p:cxnSp>
        <p:nvCxnSpPr>
          <p:cNvPr id="17" name="直線コネクタ 6">
            <a:extLst>
              <a:ext uri="{FF2B5EF4-FFF2-40B4-BE49-F238E27FC236}">
                <a16:creationId xmlns:a16="http://schemas.microsoft.com/office/drawing/2014/main" id="{6C8D8570-E2A3-492A-A044-77C6B2B1E712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タイトル 1">
            <a:extLst>
              <a:ext uri="{FF2B5EF4-FFF2-40B4-BE49-F238E27FC236}">
                <a16:creationId xmlns:a16="http://schemas.microsoft.com/office/drawing/2014/main" id="{0EE35B0D-2701-4494-9F85-3115C80BE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9773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A1BC9BC-7E85-1F07-EBFA-39A9BB38A2B7}"/>
              </a:ext>
            </a:extLst>
          </p:cNvPr>
          <p:cNvSpPr/>
          <p:nvPr userDrawn="1"/>
        </p:nvSpPr>
        <p:spPr>
          <a:xfrm>
            <a:off x="119063" y="728663"/>
            <a:ext cx="11953875" cy="6012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テキスト プレースホルダー 28">
            <a:extLst>
              <a:ext uri="{FF2B5EF4-FFF2-40B4-BE49-F238E27FC236}">
                <a16:creationId xmlns:a16="http://schemas.microsoft.com/office/drawing/2014/main" id="{AA5ACE5D-BCC4-7FAF-258F-580CB021B5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6000" y="4188145"/>
            <a:ext cx="11160000" cy="476933"/>
          </a:xfrm>
          <a:prstGeom prst="rect">
            <a:avLst/>
          </a:prstGeom>
          <a:noFill/>
        </p:spPr>
        <p:txBody>
          <a:bodyPr wrap="square" lIns="270000" tIns="54000" rIns="234000" bIns="144000" anchor="t" anchorCtr="0">
            <a:spAutoFit/>
          </a:bodyPr>
          <a:lstStyle>
            <a:lvl1pPr marL="0" indent="0" defTabSz="158400">
              <a:lnSpc>
                <a:spcPct val="100000"/>
              </a:lnSpc>
              <a:spcBef>
                <a:spcPts val="500"/>
              </a:spcBef>
              <a:buNone/>
              <a:defRPr sz="1800" b="0" spc="-30" baseline="0">
                <a:latin typeface="+mj-lt"/>
                <a:ea typeface="+mj-ea"/>
              </a:defRPr>
            </a:lvl1pPr>
            <a:lvl2pPr marL="0" indent="0" defTabSz="158400">
              <a:buNone/>
              <a:defRPr sz="1400" b="1"/>
            </a:lvl2pPr>
            <a:lvl3pPr marL="0" indent="0" defTabSz="158400">
              <a:buNone/>
              <a:defRPr b="1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kumimoji="1" lang="en-US" altLang="ja-JP"/>
              <a:t>Subtitle text 18pt</a:t>
            </a:r>
          </a:p>
        </p:txBody>
      </p:sp>
      <p:sp>
        <p:nvSpPr>
          <p:cNvPr id="23" name="タイトル 22">
            <a:extLst>
              <a:ext uri="{FF2B5EF4-FFF2-40B4-BE49-F238E27FC236}">
                <a16:creationId xmlns:a16="http://schemas.microsoft.com/office/drawing/2014/main" id="{3A40C814-17D5-4A7E-7A78-30BC828E8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000" y="2682555"/>
            <a:ext cx="11160000" cy="1492258"/>
          </a:xfrm>
        </p:spPr>
        <p:txBody>
          <a:bodyPr lIns="234000" tIns="234000" rIns="234000" bIns="125999" anchor="ctr"/>
          <a:lstStyle>
            <a:lvl1pPr>
              <a:defRPr sz="4000"/>
            </a:lvl1pPr>
          </a:lstStyle>
          <a:p>
            <a:r>
              <a:rPr lang="en-US" altLang="ja-JP" sz="4000"/>
              <a:t>Section title</a:t>
            </a:r>
            <a:br>
              <a:rPr lang="en-US" altLang="ja-JP" sz="4000"/>
            </a:br>
            <a:r>
              <a:rPr lang="en-US" altLang="ja-JP" sz="4000"/>
              <a:t>Arial 40pt / Line spacing 1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25D10DD9-2B3B-4B00-5F26-E421D0081912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スライド番号プレースホルダー 3">
            <a:extLst>
              <a:ext uri="{FF2B5EF4-FFF2-40B4-BE49-F238E27FC236}">
                <a16:creationId xmlns:a16="http://schemas.microsoft.com/office/drawing/2014/main" id="{DE1F0C62-7BF4-1436-B1EA-28526CF3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7" name="フッター プレースホルダー 2">
            <a:extLst>
              <a:ext uri="{FF2B5EF4-FFF2-40B4-BE49-F238E27FC236}">
                <a16:creationId xmlns:a16="http://schemas.microsoft.com/office/drawing/2014/main" id="{0397DCAB-F6B9-B342-2AF3-8E3D3F333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74185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E1CD6-5D8D-268E-42EC-A8EC858EBB44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626BE28-3A0E-DBF8-86C1-201ADE114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E7E08365-6A34-7C6F-FC0A-1F2887B50CE6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スライド番号プレースホルダー 3">
            <a:extLst>
              <a:ext uri="{FF2B5EF4-FFF2-40B4-BE49-F238E27FC236}">
                <a16:creationId xmlns:a16="http://schemas.microsoft.com/office/drawing/2014/main" id="{9154874E-585B-8A05-2CDC-1474B6AEE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27DF148C-7643-3E48-57EE-E10AAF0E4F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11736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1" name="フッター プレースホルダー 2">
            <a:extLst>
              <a:ext uri="{FF2B5EF4-FFF2-40B4-BE49-F238E27FC236}">
                <a16:creationId xmlns:a16="http://schemas.microsoft.com/office/drawing/2014/main" id="{9B73906A-71C3-6DE2-A8BC-3EF36EC25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8" name="直線コネクタ 6">
            <a:extLst>
              <a:ext uri="{FF2B5EF4-FFF2-40B4-BE49-F238E27FC236}">
                <a16:creationId xmlns:a16="http://schemas.microsoft.com/office/drawing/2014/main" id="{CCDAAD4A-7BA9-4427-B347-39122421020C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880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13">
            <a:extLst>
              <a:ext uri="{FF2B5EF4-FFF2-40B4-BE49-F238E27FC236}">
                <a16:creationId xmlns:a16="http://schemas.microsoft.com/office/drawing/2014/main" id="{00F0339F-31B1-E853-007B-4316C81C0E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20" name="テキスト プレースホルダー 13">
            <a:extLst>
              <a:ext uri="{FF2B5EF4-FFF2-40B4-BE49-F238E27FC236}">
                <a16:creationId xmlns:a16="http://schemas.microsoft.com/office/drawing/2014/main" id="{8B8C0042-761E-BFFD-163D-6ADF21538D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4988" y="1197288"/>
            <a:ext cx="5760000" cy="5040000"/>
          </a:xfrm>
        </p:spPr>
        <p:txBody>
          <a:bodyPr lIns="180000" tIns="72000" rIns="180000">
            <a:normAutofit/>
          </a:bodyPr>
          <a:lstStyle>
            <a:lvl1pPr marL="0" indent="0">
              <a:spcBef>
                <a:spcPts val="1000"/>
              </a:spcBef>
              <a:buNone/>
              <a:defRPr sz="1600">
                <a:latin typeface="+mn-lt"/>
              </a:defRPr>
            </a:lvl1pPr>
          </a:lstStyle>
          <a:p>
            <a:pPr lvl="0"/>
            <a:r>
              <a:rPr kumimoji="1" lang="en-US" altLang="ja-JP"/>
              <a:t>Text Arial 16pt / Line spacing 1.5</a:t>
            </a:r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7DB059A-993A-AA54-0335-384E00B89AAC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5871354C-6BF6-FA2E-3C77-84B364ABC070}"/>
              </a:ext>
            </a:extLst>
          </p:cNvPr>
          <p:cNvCxnSpPr>
            <a:cxnSpLocks/>
          </p:cNvCxnSpPr>
          <p:nvPr userDrawn="1"/>
        </p:nvCxnSpPr>
        <p:spPr>
          <a:xfrm>
            <a:off x="550714" y="6504987"/>
            <a:ext cx="0" cy="19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スライド番号プレースホルダー 3">
            <a:extLst>
              <a:ext uri="{FF2B5EF4-FFF2-40B4-BE49-F238E27FC236}">
                <a16:creationId xmlns:a16="http://schemas.microsoft.com/office/drawing/2014/main" id="{BD9A1FA5-B487-E837-4D52-49908F72E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ー 2">
            <a:extLst>
              <a:ext uri="{FF2B5EF4-FFF2-40B4-BE49-F238E27FC236}">
                <a16:creationId xmlns:a16="http://schemas.microsoft.com/office/drawing/2014/main" id="{F9D6B515-4B40-5A7C-4E93-A772ADB59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cxnSp>
        <p:nvCxnSpPr>
          <p:cNvPr id="9" name="直線コネクタ 6">
            <a:extLst>
              <a:ext uri="{FF2B5EF4-FFF2-40B4-BE49-F238E27FC236}">
                <a16:creationId xmlns:a16="http://schemas.microsoft.com/office/drawing/2014/main" id="{0415F5C1-00C1-4772-ADBC-5B5043DF4F47}"/>
              </a:ext>
            </a:extLst>
          </p:cNvPr>
          <p:cNvCxnSpPr>
            <a:cxnSpLocks/>
          </p:cNvCxnSpPr>
          <p:nvPr userDrawn="1"/>
        </p:nvCxnSpPr>
        <p:spPr>
          <a:xfrm>
            <a:off x="0" y="848498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8ED10C-73EE-41D0-9996-844E3273E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352" y="188913"/>
            <a:ext cx="8281636" cy="540000"/>
          </a:xfrm>
        </p:spPr>
        <p:txBody>
          <a:bodyPr lIns="180000" tIns="72000" rIns="180000"/>
          <a:lstStyle>
            <a:lvl1pPr>
              <a:defRPr sz="2400"/>
            </a:lvl1pPr>
          </a:lstStyle>
          <a:p>
            <a:r>
              <a:rPr kumimoji="1" lang="en-US" altLang="ja-JP"/>
              <a:t>Title  Arial 24p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9895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70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Corporation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141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  <p:sldLayoutId id="2147484066" r:id="rId4"/>
    <p:sldLayoutId id="2147484067" r:id="rId5"/>
    <p:sldLayoutId id="2147484068" r:id="rId6"/>
    <p:sldLayoutId id="2147484069" r:id="rId7"/>
    <p:sldLayoutId id="2147484070" r:id="rId8"/>
    <p:sldLayoutId id="2147484071" r:id="rId9"/>
    <p:sldLayoutId id="2147484072" r:id="rId1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61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DBFEF0-FF83-08D8-0DC8-94B8051DF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30568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DBFEF0-FF83-08D8-0DC8-94B8051DF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12">
            <a:extLst>
              <a:ext uri="{FF2B5EF4-FFF2-40B4-BE49-F238E27FC236}">
                <a16:creationId xmlns:a16="http://schemas.microsoft.com/office/drawing/2014/main" id="{B9A9338E-35E7-4891-9862-F9339B101BDB}"/>
              </a:ext>
            </a:extLst>
          </p:cNvPr>
          <p:cNvSpPr/>
          <p:nvPr userDrawn="1"/>
        </p:nvSpPr>
        <p:spPr>
          <a:xfrm>
            <a:off x="119063" y="6452663"/>
            <a:ext cx="11953875" cy="288000"/>
          </a:xfrm>
          <a:prstGeom prst="rect">
            <a:avLst/>
          </a:prstGeom>
          <a:solidFill>
            <a:srgbClr val="ECF1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FF82DC5B-BD8E-2762-C092-CF89D2EE529C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タイトル プレースホルダー 9"/>
          <p:cNvSpPr>
            <a:spLocks noGrp="1"/>
          </p:cNvSpPr>
          <p:nvPr>
            <p:ph type="title"/>
          </p:nvPr>
        </p:nvSpPr>
        <p:spPr>
          <a:xfrm>
            <a:off x="432000" y="996942"/>
            <a:ext cx="11328000" cy="432000"/>
          </a:xfrm>
          <a:prstGeom prst="rect">
            <a:avLst/>
          </a:prstGeom>
        </p:spPr>
        <p:txBody>
          <a:bodyPr vert="horz" wrap="none" lIns="0" tIns="18000" rIns="0" bIns="0" rtlCol="0" anchor="t">
            <a:noAutofit/>
          </a:bodyPr>
          <a:lstStyle/>
          <a:p>
            <a:r>
              <a:rPr kumimoji="1" lang="en-US" altLang="ja-JP"/>
              <a:t>Page title 24pt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32000" y="1725643"/>
            <a:ext cx="11327999" cy="418507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en-US" altLang="ja-JP"/>
              <a:t>Body text 18pt</a:t>
            </a:r>
            <a:endParaRPr kumimoji="1" lang="ja-JP" altLang="en-US"/>
          </a:p>
          <a:p>
            <a:pPr lvl="1"/>
            <a:r>
              <a:rPr kumimoji="1" lang="en-US" altLang="ja-JP"/>
              <a:t>Second level 16pt</a:t>
            </a:r>
            <a:endParaRPr kumimoji="1" lang="ja-JP" altLang="en-US"/>
          </a:p>
          <a:p>
            <a:pPr lvl="2"/>
            <a:r>
              <a:rPr kumimoji="1" lang="en-US" altLang="ja-JP"/>
              <a:t>Third level 14pt</a:t>
            </a:r>
            <a:endParaRPr kumimoji="1" lang="ja-JP" altLang="en-US"/>
          </a:p>
          <a:p>
            <a:pPr lvl="3"/>
            <a:r>
              <a:rPr kumimoji="1" lang="en-US" altLang="ja-JP"/>
              <a:t>Fourth level 12pt</a:t>
            </a:r>
            <a:endParaRPr kumimoji="1" lang="ja-JP" altLang="en-US"/>
          </a:p>
          <a:p>
            <a:pPr lvl="4"/>
            <a:r>
              <a:rPr kumimoji="1" lang="en-US" altLang="ja-JP"/>
              <a:t>Fifth level 10.5pt</a:t>
            </a:r>
          </a:p>
          <a:p>
            <a:pPr lvl="5"/>
            <a:r>
              <a:rPr kumimoji="1" lang="en-US" altLang="ja-JP"/>
              <a:t>Sixth level 9pt</a:t>
            </a:r>
            <a:endParaRPr kumimoji="1" lang="ja-JP" altLang="en-US"/>
          </a:p>
        </p:txBody>
      </p:sp>
      <p:sp>
        <p:nvSpPr>
          <p:cNvPr id="38" name="フッター プレースホルダー 2">
            <a:extLst>
              <a:ext uri="{FF2B5EF4-FFF2-40B4-BE49-F238E27FC236}">
                <a16:creationId xmlns:a16="http://schemas.microsoft.com/office/drawing/2014/main" id="{793D33C9-6286-93AD-F690-DD106EE41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  <p:sp>
        <p:nvSpPr>
          <p:cNvPr id="39" name="スライド番号プレースホルダー 3">
            <a:extLst>
              <a:ext uri="{FF2B5EF4-FFF2-40B4-BE49-F238E27FC236}">
                <a16:creationId xmlns:a16="http://schemas.microsoft.com/office/drawing/2014/main" id="{1E9F7E52-3585-A248-DCF9-10FD61D02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3" name="図 12" descr="アイコン&#10;&#10;低い精度で自動的に生成された説明">
            <a:extLst>
              <a:ext uri="{FF2B5EF4-FFF2-40B4-BE49-F238E27FC236}">
                <a16:creationId xmlns:a16="http://schemas.microsoft.com/office/drawing/2014/main" id="{8379A01F-8105-4DFA-DC55-B0DA44C858B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9431" y="66162"/>
            <a:ext cx="1441424" cy="662901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D3F37D6A-7194-4377-8FAC-899ECACC464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-1674" y="5125"/>
            <a:ext cx="910932" cy="70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5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2400" b="1" i="0" kern="1200" spc="-50" baseline="0">
          <a:solidFill>
            <a:schemeClr val="tx1"/>
          </a:solidFill>
          <a:latin typeface="+mj-lt"/>
          <a:ea typeface="+mj-ea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150000"/>
        </a:lnSpc>
        <a:spcBef>
          <a:spcPts val="200"/>
        </a:spcBef>
        <a:buFont typeface="Arial" panose="020B0604020202020204" pitchFamily="34" charset="0"/>
        <a:buChar char="•"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kumimoji="1"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orient="horz" pos="119">
          <p15:clr>
            <a:srgbClr val="F26B43"/>
          </p15:clr>
        </p15:guide>
        <p15:guide id="5" pos="7537">
          <p15:clr>
            <a:srgbClr val="F26B43"/>
          </p15:clr>
        </p15:guide>
        <p15:guide id="6" pos="143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4">
            <a:extLst>
              <a:ext uri="{FF2B5EF4-FFF2-40B4-BE49-F238E27FC236}">
                <a16:creationId xmlns:a16="http://schemas.microsoft.com/office/drawing/2014/main" id="{55888395-44DA-44D6-8EAB-C2E7A7FC3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err="1"/>
              <a:t>Mone</a:t>
            </a:r>
            <a:r>
              <a:rPr lang="en-US" sz="5400"/>
              <a:t>-G Germany Pilot</a:t>
            </a:r>
            <a:br>
              <a:rPr lang="en-US" sz="5400"/>
            </a:br>
            <a:r>
              <a:rPr kumimoji="0" lang="en-GB" sz="48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ea typeface="+mj-ea"/>
                <a:cs typeface="+mj-cs"/>
              </a:rPr>
              <a:t>Weekly status Report: </a:t>
            </a:r>
            <a:br>
              <a:rPr lang="en-GB" sz="60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cs typeface="+mj-cs"/>
              </a:rPr>
            </a:br>
            <a:r>
              <a:rPr lang="pl-PL" sz="2000" cap="all" spc="0" err="1">
                <a:cs typeface="+mj-cs"/>
              </a:rPr>
              <a:t>October</a:t>
            </a:r>
            <a:r>
              <a:rPr lang="en-GB" sz="20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cs typeface="+mj-cs"/>
              </a:rPr>
              <a:t> </a:t>
            </a:r>
            <a:r>
              <a:rPr lang="pl-PL" sz="2000" cap="all" spc="0">
                <a:cs typeface="+mj-cs"/>
              </a:rPr>
              <a:t>9</a:t>
            </a:r>
            <a:r>
              <a:rPr lang="en-GB" sz="2000" b="1" i="0" u="none" strike="noStrike" kern="1200" cap="all" spc="0" normalizeH="0" baseline="0" noProof="0">
                <a:ln>
                  <a:noFill/>
                </a:ln>
                <a:effectLst/>
                <a:uLnTx/>
                <a:uFillTx/>
                <a:cs typeface="+mj-cs"/>
              </a:rPr>
              <a:t> – </a:t>
            </a:r>
            <a:r>
              <a:rPr lang="pl-PL" sz="2000" b="1" i="0" u="none" strike="noStrike" kern="1200" cap="all" spc="0" normalizeH="0" baseline="0" noProof="0" err="1">
                <a:ln>
                  <a:noFill/>
                </a:ln>
                <a:effectLst/>
                <a:uLnTx/>
                <a:uFillTx/>
                <a:cs typeface="+mj-cs"/>
              </a:rPr>
              <a:t>october</a:t>
            </a:r>
            <a:r>
              <a:rPr lang="en-GB" sz="2000" cap="all" spc="0">
                <a:cs typeface="+mj-cs"/>
              </a:rPr>
              <a:t> </a:t>
            </a:r>
            <a:r>
              <a:rPr lang="pl-PL" sz="2000" cap="all" spc="0">
                <a:cs typeface="+mj-cs"/>
              </a:rPr>
              <a:t>13</a:t>
            </a:r>
            <a:endParaRPr lang="en-AU" sz="200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8C571B9-A27E-4E70-AFBF-07F6E1DADB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501" y="6474646"/>
            <a:ext cx="343672" cy="239418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fld id="{48394356-8693-4048-8EAF-2BF05B04AA80}" type="slidenum">
              <a:rPr lang="ja-JP" altLang="en-US" smtClean="0"/>
              <a:pPr/>
              <a:t>1</a:t>
            </a:fld>
            <a:endParaRPr lang="ja-JP" altLang="en-US"/>
          </a:p>
        </p:txBody>
      </p:sp>
      <p:sp>
        <p:nvSpPr>
          <p:cNvPr id="5" name="フッター プレースホルダー 2">
            <a:extLst>
              <a:ext uri="{FF2B5EF4-FFF2-40B4-BE49-F238E27FC236}">
                <a16:creationId xmlns:a16="http://schemas.microsoft.com/office/drawing/2014/main" id="{EFDCEE51-FC54-45B2-B98C-44D513263F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758" y="6474646"/>
            <a:ext cx="4456805" cy="239418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Mitsubishi Chemical Group   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4034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1F7D60-14F4-495A-BAF8-AD193D0AC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eam Stat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A62A97-FEF3-47D2-AFE1-34551A9BF3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94356-8693-4048-8EAF-2BF05B04AA80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6EBB47-52F9-4E27-809D-AD250EE242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ja-JP"/>
              <a:t>Mitsubishi Chemical Group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05326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B2D9A-314F-4620-98FD-BCE609C07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Migration Status Summ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EFD65-8D49-42C5-AAA6-2C57476EF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394356-8693-4048-8EAF-2BF05B04AA80}" type="slidenum">
              <a:rPr kumimoji="1" lang="ja-JP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panose="020B0600070205080204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A1BE2F-2B0A-4CFB-9CAA-FCEFEACF5A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ＭＳ Ｐゴシック" panose="020B0600070205080204" pitchFamily="34" charset="-128"/>
                <a:cs typeface="+mn-cs"/>
              </a:rPr>
              <a:t>Mitsubishi Chemical Group   </a:t>
            </a: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C5761A3-179D-41D3-8FFD-711F4A2649B0}"/>
              </a:ext>
            </a:extLst>
          </p:cNvPr>
          <p:cNvSpPr/>
          <p:nvPr/>
        </p:nvSpPr>
        <p:spPr>
          <a:xfrm>
            <a:off x="6873260" y="892820"/>
            <a:ext cx="182880" cy="182880"/>
          </a:xfrm>
          <a:prstGeom prst="ellipse">
            <a:avLst/>
          </a:prstGeom>
          <a:solidFill>
            <a:srgbClr val="57CF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538065B-33DB-4C66-A53B-5A21E68D9922}"/>
              </a:ext>
            </a:extLst>
          </p:cNvPr>
          <p:cNvSpPr/>
          <p:nvPr/>
        </p:nvSpPr>
        <p:spPr>
          <a:xfrm>
            <a:off x="7722346" y="892820"/>
            <a:ext cx="182880" cy="18288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159D7B-521D-47B4-918F-115E3E8A786D}"/>
              </a:ext>
            </a:extLst>
          </p:cNvPr>
          <p:cNvSpPr/>
          <p:nvPr/>
        </p:nvSpPr>
        <p:spPr>
          <a:xfrm>
            <a:off x="9259410" y="892820"/>
            <a:ext cx="182880" cy="18288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6288617-CBC4-4C8B-99D1-5892CAAA1F61}"/>
              </a:ext>
            </a:extLst>
          </p:cNvPr>
          <p:cNvSpPr/>
          <p:nvPr/>
        </p:nvSpPr>
        <p:spPr>
          <a:xfrm>
            <a:off x="10481040" y="892820"/>
            <a:ext cx="182880" cy="18288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4002B8-D34A-46A4-A21C-9970F93EED81}"/>
              </a:ext>
            </a:extLst>
          </p:cNvPr>
          <p:cNvSpPr txBox="1"/>
          <p:nvPr/>
        </p:nvSpPr>
        <p:spPr>
          <a:xfrm>
            <a:off x="7010400" y="861150"/>
            <a:ext cx="6735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Ti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7837B2-039E-4DA2-A921-B4751DCB5F62}"/>
              </a:ext>
            </a:extLst>
          </p:cNvPr>
          <p:cNvSpPr txBox="1"/>
          <p:nvPr/>
        </p:nvSpPr>
        <p:spPr>
          <a:xfrm>
            <a:off x="7847767" y="861150"/>
            <a:ext cx="14350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ight delay expect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09C852-B209-4742-9833-03B7208870B9}"/>
              </a:ext>
            </a:extLst>
          </p:cNvPr>
          <p:cNvSpPr txBox="1"/>
          <p:nvPr/>
        </p:nvSpPr>
        <p:spPr>
          <a:xfrm>
            <a:off x="9399099" y="861150"/>
            <a:ext cx="10871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ay expec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DA4A56-6D63-44E6-BA7B-9DD5DA7F4230}"/>
              </a:ext>
            </a:extLst>
          </p:cNvPr>
          <p:cNvSpPr txBox="1"/>
          <p:nvPr/>
        </p:nvSpPr>
        <p:spPr>
          <a:xfrm>
            <a:off x="10599624" y="861150"/>
            <a:ext cx="14895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ll lead to challeng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D0E7BF2-BFC3-8149-269C-D50111EAD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166514"/>
              </p:ext>
            </p:extLst>
          </p:nvPr>
        </p:nvGraphicFramePr>
        <p:xfrm>
          <a:off x="102867" y="1161998"/>
          <a:ext cx="11986268" cy="2974053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47675">
                  <a:extLst>
                    <a:ext uri="{9D8B030D-6E8A-4147-A177-3AD203B41FA5}">
                      <a16:colId xmlns:a16="http://schemas.microsoft.com/office/drawing/2014/main" val="1383655945"/>
                    </a:ext>
                  </a:extLst>
                </a:gridCol>
                <a:gridCol w="1357980">
                  <a:extLst>
                    <a:ext uri="{9D8B030D-6E8A-4147-A177-3AD203B41FA5}">
                      <a16:colId xmlns:a16="http://schemas.microsoft.com/office/drawing/2014/main" val="2990992242"/>
                    </a:ext>
                  </a:extLst>
                </a:gridCol>
                <a:gridCol w="4474241">
                  <a:extLst>
                    <a:ext uri="{9D8B030D-6E8A-4147-A177-3AD203B41FA5}">
                      <a16:colId xmlns:a16="http://schemas.microsoft.com/office/drawing/2014/main" val="1569018203"/>
                    </a:ext>
                  </a:extLst>
                </a:gridCol>
                <a:gridCol w="359775">
                  <a:extLst>
                    <a:ext uri="{9D8B030D-6E8A-4147-A177-3AD203B41FA5}">
                      <a16:colId xmlns:a16="http://schemas.microsoft.com/office/drawing/2014/main" val="1444444372"/>
                    </a:ext>
                  </a:extLst>
                </a:gridCol>
                <a:gridCol w="3509635">
                  <a:extLst>
                    <a:ext uri="{9D8B030D-6E8A-4147-A177-3AD203B41FA5}">
                      <a16:colId xmlns:a16="http://schemas.microsoft.com/office/drawing/2014/main" val="3051270826"/>
                    </a:ext>
                  </a:extLst>
                </a:gridCol>
                <a:gridCol w="1286902">
                  <a:extLst>
                    <a:ext uri="{9D8B030D-6E8A-4147-A177-3AD203B41FA5}">
                      <a16:colId xmlns:a16="http://schemas.microsoft.com/office/drawing/2014/main" val="292431431"/>
                    </a:ext>
                  </a:extLst>
                </a:gridCol>
                <a:gridCol w="650060">
                  <a:extLst>
                    <a:ext uri="{9D8B030D-6E8A-4147-A177-3AD203B41FA5}">
                      <a16:colId xmlns:a16="http://schemas.microsoft.com/office/drawing/2014/main" val="445300399"/>
                    </a:ext>
                  </a:extLst>
                </a:gridCol>
              </a:tblGrid>
              <a:tr h="147791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Overall Statu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lobal Template Phase Deliverabl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cal Assessment Worksho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verall RA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54087"/>
                  </a:ext>
                </a:extLst>
              </a:tr>
              <a:tr h="267879">
                <a:tc gridSpan="3">
                  <a:txBody>
                    <a:bodyPr/>
                    <a:lstStyle/>
                    <a:p>
                      <a:pPr marL="0" algn="l" defTabSz="914126" rtl="0" eaLnBrk="1" latinLnBrk="0" hangingPunct="1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tivities/Tasks/Deliverables This Week (Completion Date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1" i="0" u="none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b="1" i="0" u="none" dirty="0">
                          <a:solidFill>
                            <a:schemeClr val="bg1"/>
                          </a:solidFill>
                        </a:rPr>
                        <a:t>Upcoming Activities/Tasks/Deliverables (Completion Date)</a:t>
                      </a:r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 b="1" u="none" kern="1200">
                          <a:solidFill>
                            <a:schemeClr val="bg1"/>
                          </a:solidFill>
                        </a:rPr>
                        <a:t>Status</a:t>
                      </a:r>
                      <a:endParaRPr lang="en-US" sz="1200" b="1" i="0" u="none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141250"/>
                  </a:ext>
                </a:extLst>
              </a:tr>
              <a:tr h="66992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en-IN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d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ignment on data mapping template sequence with local MCE</a:t>
                      </a:r>
                      <a:endParaRPr kumimoji="1" lang="en-IN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b="0" i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IN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 2 weeks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 data extracts from client 550</a:t>
                      </a: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rt data extracts from source clients 160, 420, (500 ?)</a:t>
                      </a: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 data mapping templates for client 550 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374350"/>
                  </a:ext>
                </a:extLst>
              </a:tr>
              <a:tr h="502920">
                <a:tc row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I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nal </a:t>
                      </a:r>
                      <a:r>
                        <a:rPr lang="en-IN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nshuttle</a:t>
                      </a: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raining sessions started for </a:t>
                      </a:r>
                      <a:r>
                        <a:rPr lang="en-IN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an</a:t>
                      </a: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eam (30%)</a:t>
                      </a: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 transformation and mapping templates (25%)</a:t>
                      </a: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</a:rPr>
                        <a:t> 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4361572"/>
                  </a:ext>
                </a:extLst>
              </a:tr>
              <a:tr h="10696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IN" sz="11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1" lang="en-IN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ter</a:t>
                      </a:r>
                    </a:p>
                    <a:p>
                      <a:pPr marL="228600" marR="0" lvl="0" indent="-2286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</a:pP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lete data extracts from source clients 160, 420, (500 ?)</a:t>
                      </a:r>
                    </a:p>
                    <a:p>
                      <a:pPr marL="228600" marR="0" lvl="0" indent="-2286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AutoNum type="arabicPeriod"/>
                      </a:pPr>
                      <a:r>
                        <a:rPr lang="en-IN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</a:rPr>
                        <a:t>Complete data mapping templates for clients 160,420, (500 ?)</a:t>
                      </a:r>
                      <a:endParaRPr lang="en-IN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6480724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A9149AF6-A4AA-3DF5-0616-74AC7157EF07}"/>
              </a:ext>
            </a:extLst>
          </p:cNvPr>
          <p:cNvSpPr/>
          <p:nvPr/>
        </p:nvSpPr>
        <p:spPr>
          <a:xfrm>
            <a:off x="11528583" y="1230236"/>
            <a:ext cx="277091" cy="27037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kumimoji="1" lang="en-US" sz="16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B947541-F7F2-5C72-0954-DBF335B9CC70}"/>
              </a:ext>
            </a:extLst>
          </p:cNvPr>
          <p:cNvSpPr/>
          <p:nvPr/>
        </p:nvSpPr>
        <p:spPr>
          <a:xfrm>
            <a:off x="276663" y="2933494"/>
            <a:ext cx="182880" cy="18288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7880CDF-8653-FCCA-B11E-B7A36B808885}"/>
              </a:ext>
            </a:extLst>
          </p:cNvPr>
          <p:cNvSpPr/>
          <p:nvPr/>
        </p:nvSpPr>
        <p:spPr>
          <a:xfrm>
            <a:off x="6383203" y="2285996"/>
            <a:ext cx="182880" cy="18288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kumimoji="1" lang="en-US" sz="1600">
              <a:solidFill>
                <a:prstClr val="white"/>
              </a:solidFill>
              <a:latin typeface="Arial" panose="020B0604020202020204"/>
            </a:endParaRPr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AAC71092-634E-26C1-31AE-55BD3030E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390187"/>
              </p:ext>
            </p:extLst>
          </p:nvPr>
        </p:nvGraphicFramePr>
        <p:xfrm>
          <a:off x="109415" y="4428392"/>
          <a:ext cx="11979720" cy="199515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406400">
                  <a:extLst>
                    <a:ext uri="{9D8B030D-6E8A-4147-A177-3AD203B41FA5}">
                      <a16:colId xmlns:a16="http://schemas.microsoft.com/office/drawing/2014/main" val="983783235"/>
                    </a:ext>
                  </a:extLst>
                </a:gridCol>
                <a:gridCol w="3094893">
                  <a:extLst>
                    <a:ext uri="{9D8B030D-6E8A-4147-A177-3AD203B41FA5}">
                      <a16:colId xmlns:a16="http://schemas.microsoft.com/office/drawing/2014/main" val="4069032236"/>
                    </a:ext>
                  </a:extLst>
                </a:gridCol>
                <a:gridCol w="4336271">
                  <a:extLst>
                    <a:ext uri="{9D8B030D-6E8A-4147-A177-3AD203B41FA5}">
                      <a16:colId xmlns:a16="http://schemas.microsoft.com/office/drawing/2014/main" val="285054311"/>
                    </a:ext>
                  </a:extLst>
                </a:gridCol>
                <a:gridCol w="1720257">
                  <a:extLst>
                    <a:ext uri="{9D8B030D-6E8A-4147-A177-3AD203B41FA5}">
                      <a16:colId xmlns:a16="http://schemas.microsoft.com/office/drawing/2014/main" val="4291502908"/>
                    </a:ext>
                  </a:extLst>
                </a:gridCol>
                <a:gridCol w="1219893">
                  <a:extLst>
                    <a:ext uri="{9D8B030D-6E8A-4147-A177-3AD203B41FA5}">
                      <a16:colId xmlns:a16="http://schemas.microsoft.com/office/drawing/2014/main" val="1400953577"/>
                    </a:ext>
                  </a:extLst>
                </a:gridCol>
                <a:gridCol w="1202006">
                  <a:extLst>
                    <a:ext uri="{9D8B030D-6E8A-4147-A177-3AD203B41FA5}">
                      <a16:colId xmlns:a16="http://schemas.microsoft.com/office/drawing/2014/main" val="1066762439"/>
                    </a:ext>
                  </a:extLst>
                </a:gridCol>
              </a:tblGrid>
              <a:tr h="288270">
                <a:tc gridSpan="2">
                  <a:txBody>
                    <a:bodyPr/>
                    <a:lstStyle/>
                    <a:p>
                      <a:pPr marL="0" algn="l" defTabSz="914126" rtl="0" eaLnBrk="1" latinLnBrk="0" hangingPunct="1"/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AID – Risk, Actions, Issues, Decision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indent="0" algn="l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itigation Action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mpact/Probability* </a:t>
                      </a:r>
                      <a:r>
                        <a:rPr lang="en-US" sz="1000" b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/M/L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sponsibl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126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solution b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860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latin typeface="+mn-lt"/>
                        </a:rPr>
                        <a:t>I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>
                          <a:latin typeface="+mn-lt"/>
                        </a:rPr>
                        <a:t>Load tool still not availab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IN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ant acc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/hig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obal tea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a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0192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latin typeface="+mn-lt"/>
                        </a:rPr>
                        <a:t>I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>
                          <a:latin typeface="+mn-lt"/>
                        </a:rPr>
                        <a:t>Data extraction on hold, because extraction tools (</a:t>
                      </a:r>
                      <a:r>
                        <a:rPr lang="en-US" sz="1100" err="1">
                          <a:latin typeface="+mn-lt"/>
                        </a:rPr>
                        <a:t>winshuttle</a:t>
                      </a:r>
                      <a:r>
                        <a:rPr lang="en-US" sz="1100">
                          <a:latin typeface="+mn-lt"/>
                        </a:rPr>
                        <a:t>) not available on legacy SAP systems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IN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ide tool access, provide data extrac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/hig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obal tea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a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853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latin typeface="+mn-lt"/>
                        </a:rPr>
                        <a:t>I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>
                          <a:latin typeface="+mn-lt"/>
                        </a:rPr>
                        <a:t>Data transformation templates overdue, replanning requir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IN" sz="11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/high-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 + Global DM tea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ap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2942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latin typeface="+mn-lt"/>
                        </a:rPr>
                        <a:t>D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>
                          <a:latin typeface="+mn-lt"/>
                        </a:rPr>
                        <a:t>Decision on load </a:t>
                      </a:r>
                      <a:r>
                        <a:rPr lang="en-US" sz="1100" err="1">
                          <a:latin typeface="+mn-lt"/>
                        </a:rPr>
                        <a:t>toold</a:t>
                      </a:r>
                      <a:r>
                        <a:rPr lang="en-US" sz="1100">
                          <a:latin typeface="+mn-lt"/>
                        </a:rPr>
                        <a:t>, data transformation, rescheduling and depending CR need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IN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eting scheduled for Oct 16th with CG global team and MCG glob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/high-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obal team,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1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Oct 202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62125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C0D9063-8A53-256E-B526-58981EB2917D}"/>
              </a:ext>
            </a:extLst>
          </p:cNvPr>
          <p:cNvSpPr txBox="1"/>
          <p:nvPr/>
        </p:nvSpPr>
        <p:spPr>
          <a:xfrm>
            <a:off x="9067800" y="187575"/>
            <a:ext cx="1699824" cy="446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5720" tIns="91440" rIns="91440" bIns="45720" rtlCol="0" anchor="t" anchorCtr="0">
            <a:spAutoFit/>
          </a:bodyPr>
          <a:lstStyle/>
          <a:p>
            <a:r>
              <a:rPr lang="en-US" sz="1000">
                <a:solidFill>
                  <a:sysClr val="windowText" lastClr="000000"/>
                </a:solidFill>
              </a:rPr>
              <a:t>Reported by Armin Schmidt</a:t>
            </a:r>
            <a:endParaRPr lang="en-US" sz="1000">
              <a:solidFill>
                <a:sysClr val="windowText" lastClr="000000"/>
              </a:solidFill>
              <a:cs typeface="Arial"/>
            </a:endParaRPr>
          </a:p>
          <a:p>
            <a:pPr algn="l"/>
            <a:r>
              <a:rPr lang="pl-PL" sz="1000">
                <a:solidFill>
                  <a:sysClr val="windowText" lastClr="000000"/>
                </a:solidFill>
              </a:rPr>
              <a:t>13 </a:t>
            </a:r>
            <a:r>
              <a:rPr lang="pl-PL" sz="1000" err="1">
                <a:solidFill>
                  <a:sysClr val="windowText" lastClr="000000"/>
                </a:solidFill>
              </a:rPr>
              <a:t>October</a:t>
            </a:r>
            <a:r>
              <a:rPr lang="pl-PL" sz="1000">
                <a:solidFill>
                  <a:sysClr val="windowText" lastClr="000000"/>
                </a:solidFill>
              </a:rPr>
              <a:t> </a:t>
            </a:r>
            <a:r>
              <a:rPr lang="en-US" sz="1000">
                <a:solidFill>
                  <a:sysClr val="windowText" lastClr="000000"/>
                </a:solidFill>
              </a:rPr>
              <a:t>2023</a:t>
            </a:r>
            <a:endParaRPr lang="en-US" sz="1000">
              <a:solidFill>
                <a:sysClr val="windowText" lastClr="000000"/>
              </a:solidFill>
              <a:cs typeface="Arial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8001AC0-7954-79CF-DD42-F42D54F4EEEB}"/>
              </a:ext>
            </a:extLst>
          </p:cNvPr>
          <p:cNvSpPr/>
          <p:nvPr/>
        </p:nvSpPr>
        <p:spPr>
          <a:xfrm>
            <a:off x="276662" y="2703849"/>
            <a:ext cx="182880" cy="18288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943F028-B505-5BBD-5DB4-62F352F37ECC}"/>
              </a:ext>
            </a:extLst>
          </p:cNvPr>
          <p:cNvSpPr/>
          <p:nvPr/>
        </p:nvSpPr>
        <p:spPr>
          <a:xfrm>
            <a:off x="6383202" y="2421693"/>
            <a:ext cx="182880" cy="18288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kumimoji="1" lang="en-US" sz="16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BC94313-E042-2356-4FA8-DA1051A9FB5D}"/>
              </a:ext>
            </a:extLst>
          </p:cNvPr>
          <p:cNvSpPr/>
          <p:nvPr/>
        </p:nvSpPr>
        <p:spPr>
          <a:xfrm>
            <a:off x="6383203" y="2098105"/>
            <a:ext cx="182880" cy="18288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kumimoji="1" lang="en-US" sz="1600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88991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one Basic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solidFill>
            <a:schemeClr val="accent1"/>
          </a:solidFill>
        </a:ln>
      </a:spPr>
      <a:bodyPr wrap="none" lIns="45720" tIns="91440" rIns="91440" bIns="45720" rtlCol="0" anchor="t" anchorCtr="0">
        <a:spAutoFit/>
      </a:bodyPr>
      <a:lstStyle>
        <a:defPPr algn="l">
          <a:defRPr dirty="0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2.xml><?xml version="1.0" encoding="utf-8"?>
<a:theme xmlns:a="http://schemas.openxmlformats.org/drawingml/2006/main" name="2_Mone Basic template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72000" rIns="234000" bIns="0" anchor="t" anchorCtr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3.xml><?xml version="1.0" encoding="utf-8"?>
<a:theme xmlns:a="http://schemas.openxmlformats.org/drawingml/2006/main" name="3_Mone Basic template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solidFill>
            <a:schemeClr val="accent1"/>
          </a:solidFill>
        </a:ln>
      </a:spPr>
      <a:bodyPr wrap="none" lIns="45720" tIns="91440" rIns="91440" bIns="45720" rtlCol="0" anchor="t" anchorCtr="0">
        <a:spAutoFit/>
      </a:bodyPr>
      <a:lstStyle>
        <a:defPPr algn="l">
          <a:defRPr dirty="0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4.xml><?xml version="1.0" encoding="utf-8"?>
<a:theme xmlns:a="http://schemas.openxmlformats.org/drawingml/2006/main" name="4_Mone Basic template">
  <a:themeElements>
    <a:clrScheme name="暖かみのある青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bg1"/>
        </a:solidFill>
        <a:ln>
          <a:solidFill>
            <a:schemeClr val="accent1"/>
          </a:solidFill>
        </a:ln>
      </a:spPr>
      <a:bodyPr wrap="none" lIns="45720" tIns="91440" rIns="91440" bIns="45720" rtlCol="0" anchor="t" anchorCtr="0">
        <a:spAutoFit/>
      </a:bodyPr>
      <a:lstStyle>
        <a:defPPr algn="l">
          <a:defRPr dirty="0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90904_KIOXIA_PPTTemplate_16×9_EN.pptx" id="{5AD8D898-F077-B642-BDB7-6C321C9FDD91}" vid="{90AFABDF-A4D8-0844-B6E0-EEFE7C005DB1}"/>
    </a:ext>
  </a:extLst>
</a:theme>
</file>

<file path=ppt/theme/theme5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D81F64C862234AB5F69C9A64B24884" ma:contentTypeVersion="16" ma:contentTypeDescription="Create a new document." ma:contentTypeScope="" ma:versionID="86ab8c302802077d3cd6b5ae011a7e26">
  <xsd:schema xmlns:xsd="http://www.w3.org/2001/XMLSchema" xmlns:xs="http://www.w3.org/2001/XMLSchema" xmlns:p="http://schemas.microsoft.com/office/2006/metadata/properties" xmlns:ns2="62aafb33-abec-4b1f-928f-5e4cb63da6bb" xmlns:ns3="ba64286c-83aa-4139-a2c4-6e8d74af62db" targetNamespace="http://schemas.microsoft.com/office/2006/metadata/properties" ma:root="true" ma:fieldsID="4504c0838b42f4fd148a9f49ac79dc98" ns2:_="" ns3:_="">
    <xsd:import namespace="62aafb33-abec-4b1f-928f-5e4cb63da6bb"/>
    <xsd:import namespace="ba64286c-83aa-4139-a2c4-6e8d74af62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aafb33-abec-4b1f-928f-5e4cb63da6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4286c-83aa-4139-a2c4-6e8d74af62d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2aafb33-abec-4b1f-928f-5e4cb63da6bb">
      <Terms xmlns="http://schemas.microsoft.com/office/infopath/2007/PartnerControls"/>
    </lcf76f155ced4ddcb4097134ff3c332f>
    <SharedWithUsers xmlns="ba64286c-83aa-4139-a2c4-6e8d74af62db">
      <UserInfo>
        <DisplayName>Viereck, Hendrik</DisplayName>
        <AccountId>262</AccountId>
        <AccountType/>
      </UserInfo>
      <UserInfo>
        <DisplayName>Rajput, Hemu</DisplayName>
        <AccountId>249</AccountId>
        <AccountType/>
      </UserInfo>
      <UserInfo>
        <DisplayName>Schmidt, Armin</DisplayName>
        <AccountId>270</AccountId>
        <AccountType/>
      </UserInfo>
      <UserInfo>
        <DisplayName>Thebes, Manfred</DisplayName>
        <AccountId>251</AccountId>
        <AccountType/>
      </UserInfo>
      <UserInfo>
        <DisplayName>Paladugu, Damodar Naidu</DisplayName>
        <AccountId>247</AccountId>
        <AccountType/>
      </UserInfo>
      <UserInfo>
        <DisplayName>Mallick, Sambhranta</DisplayName>
        <AccountId>272</AccountId>
        <AccountType/>
      </UserInfo>
      <UserInfo>
        <DisplayName>Ahrens, Björn</DisplayName>
        <AccountId>52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8B340E-820D-4E35-93A4-C175E995F9F6}">
  <ds:schemaRefs>
    <ds:schemaRef ds:uri="62aafb33-abec-4b1f-928f-5e4cb63da6bb"/>
    <ds:schemaRef ds:uri="ba64286c-83aa-4139-a2c4-6e8d74af62d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765F6DA-EDFD-4C3F-B2EB-EDE359E124E2}">
  <ds:schemaRefs>
    <ds:schemaRef ds:uri="62aafb33-abec-4b1f-928f-5e4cb63da6bb"/>
    <ds:schemaRef ds:uri="ba64286c-83aa-4139-a2c4-6e8d74af62d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8</Words>
  <Application>Microsoft Office PowerPoint</Application>
  <PresentationFormat>Widescreen</PresentationFormat>
  <Paragraphs>6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Ubuntu</vt:lpstr>
      <vt:lpstr>Arial</vt:lpstr>
      <vt:lpstr>Times New Roman</vt:lpstr>
      <vt:lpstr>1_Mone Basic template</vt:lpstr>
      <vt:lpstr>2_Mone Basic template</vt:lpstr>
      <vt:lpstr>3_Mone Basic template</vt:lpstr>
      <vt:lpstr>4_Mone Basic template</vt:lpstr>
      <vt:lpstr>think-cell Slide</vt:lpstr>
      <vt:lpstr>Mone-G Germany Pilot Weekly status Report:  October 9 – october 13</vt:lpstr>
      <vt:lpstr>Stream Status</vt:lpstr>
      <vt:lpstr>Data Migration Status 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Capgemini template</dc:subject>
  <dc:creator>Capgemini</dc:creator>
  <cp:lastModifiedBy>Schmidt, Armin</cp:lastModifiedBy>
  <cp:revision>20</cp:revision>
  <dcterms:created xsi:type="dcterms:W3CDTF">2021-06-29T08:37:48Z</dcterms:created>
  <dcterms:modified xsi:type="dcterms:W3CDTF">2023-10-13T13:47:25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D81F64C862234AB5F69C9A64B24884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MediaServiceImageTags">
    <vt:lpwstr/>
  </property>
</Properties>
</file>